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71" r:id="rId2"/>
  </p:sldIdLst>
  <p:sldSz cx="18288000" cy="10287000"/>
  <p:notesSz cx="6858000" cy="9144000"/>
  <p:embeddedFontLst>
    <p:embeddedFont>
      <p:font typeface="Trebuchet MS" panose="020B060302020202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3200" dirty="0">
                <a:solidFill>
                  <a:schemeClr val="accent3"/>
                </a:solidFill>
                <a:latin typeface="Trebuchet MS" panose="020B0603020202020204" pitchFamily="34" charset="0"/>
                <a:sym typeface="Trebuchet MS"/>
              </a:rPr>
              <a:t>How can we help you?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Create, edit, or format slides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Sanitize existing slides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Convert Legacy slides to Grid slides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Convert client format slides to Client slides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Create bespoke client macros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Other support services for Excel, web surveys, data entry and web research</a:t>
            </a:r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135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08FEC92-9E16-4032-ABE1-C50B597D52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08FEC92-9E16-4032-ABE1-C50B597D5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8ECC488-428F-CEFD-9855-53EAC73A6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 vert="horz"/>
          <a:lstStyle/>
          <a:p>
            <a:r>
              <a:rPr lang="en-IN" dirty="0"/>
              <a:t>Framework slide – Objectives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A577FAE-F131-517E-9553-E1AEDCD1FD26}"/>
              </a:ext>
            </a:extLst>
          </p:cNvPr>
          <p:cNvGrpSpPr/>
          <p:nvPr/>
        </p:nvGrpSpPr>
        <p:grpSpPr>
          <a:xfrm>
            <a:off x="767582" y="1889194"/>
            <a:ext cx="16806042" cy="7369106"/>
            <a:chOff x="767582" y="1889194"/>
            <a:chExt cx="16806042" cy="7369106"/>
          </a:xfrm>
        </p:grpSpPr>
        <p:sp>
          <p:nvSpPr>
            <p:cNvPr id="49" name="Content Placeholder 2">
              <a:extLst>
                <a:ext uri="{FF2B5EF4-FFF2-40B4-BE49-F238E27FC236}">
                  <a16:creationId xmlns:a16="http://schemas.microsoft.com/office/drawing/2014/main" id="{2A1E986C-833B-4AD4-A2D7-1ECA6AF5BC3A}"/>
                </a:ext>
              </a:extLst>
            </p:cNvPr>
            <p:cNvSpPr txBox="1">
              <a:spLocks/>
            </p:cNvSpPr>
            <p:nvPr/>
          </p:nvSpPr>
          <p:spPr>
            <a:xfrm>
              <a:off x="11568919" y="2579448"/>
              <a:ext cx="5398730" cy="203132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326612" indent="-510235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040941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857317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73693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490070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06446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122822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939199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60000" indent="-36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</a:pPr>
              <a:r>
                <a:rPr lang="en-US" sz="2200" dirty="0">
                  <a:ea typeface="Calibri" panose="020F0502020204030204" pitchFamily="34" charset="0"/>
                </a:rPr>
                <a:t>Lorem ipsum dolor sit amet, consectetuer adipiscing elit. Maecenas porttitor congue massa. Fusce posuere, magna sed pulvinar Nunc viverra imperdiet enim. Fusce est. Vivamus a tellus.</a:t>
              </a:r>
            </a:p>
          </p:txBody>
        </p:sp>
        <p:sp>
          <p:nvSpPr>
            <p:cNvPr id="50" name="Content Placeholder 2">
              <a:extLst>
                <a:ext uri="{FF2B5EF4-FFF2-40B4-BE49-F238E27FC236}">
                  <a16:creationId xmlns:a16="http://schemas.microsoft.com/office/drawing/2014/main" id="{2BF50DFF-FE82-49CA-BAEF-7B3C76937785}"/>
                </a:ext>
              </a:extLst>
            </p:cNvPr>
            <p:cNvSpPr txBox="1">
              <a:spLocks/>
            </p:cNvSpPr>
            <p:nvPr/>
          </p:nvSpPr>
          <p:spPr>
            <a:xfrm>
              <a:off x="11568919" y="6365965"/>
              <a:ext cx="5398730" cy="203132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326612" indent="-510235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040941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857317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73693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490070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06446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122822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939199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60000" indent="-36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</a:pPr>
              <a:r>
                <a:rPr lang="en-US" sz="2200" dirty="0">
                  <a:ea typeface="Calibri" panose="020F0502020204030204" pitchFamily="34" charset="0"/>
                </a:rPr>
                <a:t>Lorem ipsum dolor sit amet, consectetuer adipiscing elit. Maecenas porttitor congue massa. Fusce posuere, magna sed pulvinar Nunc viverra imperdiet enim. Fusce est. Vivamus a tellus.</a:t>
              </a:r>
            </a:p>
          </p:txBody>
        </p:sp>
        <p:sp>
          <p:nvSpPr>
            <p:cNvPr id="51" name="Content Placeholder 2">
              <a:extLst>
                <a:ext uri="{FF2B5EF4-FFF2-40B4-BE49-F238E27FC236}">
                  <a16:creationId xmlns:a16="http://schemas.microsoft.com/office/drawing/2014/main" id="{4701E2E9-0F87-4D40-AF4A-7724562F2519}"/>
                </a:ext>
              </a:extLst>
            </p:cNvPr>
            <p:cNvSpPr txBox="1">
              <a:spLocks/>
            </p:cNvSpPr>
            <p:nvPr/>
          </p:nvSpPr>
          <p:spPr>
            <a:xfrm>
              <a:off x="1246315" y="6387273"/>
              <a:ext cx="4960722" cy="20100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326612" indent="-510235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040941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857317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73693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490070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06446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122822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939199" indent="-408188" algn="l" defTabSz="16327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60000" indent="-36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Symbol" panose="05050102010706020507" pitchFamily="18" charset="2"/>
                <a:buChar char=""/>
              </a:pPr>
              <a:r>
                <a:rPr lang="en-US" sz="2200" dirty="0">
                  <a:ea typeface="Calibri" panose="020F0502020204030204" pitchFamily="34" charset="0"/>
                </a:rPr>
                <a:t>Lorem ipsum dolor sit amet, consectetuer adipiscing elit. Maecenas porttitor congue massa. Fusce posuere, magna sed pulvinar Nunc viverra imperdiet enim. Fusce est. Vivamus a tellus.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B9C3BF7-79A6-4A5E-B05B-AD02BCF0F5BF}"/>
                </a:ext>
              </a:extLst>
            </p:cNvPr>
            <p:cNvGrpSpPr/>
            <p:nvPr/>
          </p:nvGrpSpPr>
          <p:grpSpPr>
            <a:xfrm>
              <a:off x="4723794" y="1889194"/>
              <a:ext cx="6744272" cy="7369106"/>
              <a:chOff x="4866394" y="1889194"/>
              <a:chExt cx="6988722" cy="7447226"/>
            </a:xfrm>
          </p:grpSpPr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1130D72E-1C03-4BDA-8549-3B998FF6E3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6278" y="1889194"/>
                <a:ext cx="1444984" cy="2019273"/>
              </a:xfrm>
              <a:custGeom>
                <a:avLst/>
                <a:gdLst>
                  <a:gd name="T0" fmla="*/ 256 w 256"/>
                  <a:gd name="T1" fmla="*/ 0 h 359"/>
                  <a:gd name="T2" fmla="*/ 219 w 256"/>
                  <a:gd name="T3" fmla="*/ 74 h 359"/>
                  <a:gd name="T4" fmla="*/ 141 w 256"/>
                  <a:gd name="T5" fmla="*/ 216 h 359"/>
                  <a:gd name="T6" fmla="*/ 69 w 256"/>
                  <a:gd name="T7" fmla="*/ 350 h 359"/>
                  <a:gd name="T8" fmla="*/ 61 w 256"/>
                  <a:gd name="T9" fmla="*/ 359 h 359"/>
                  <a:gd name="T10" fmla="*/ 4 w 256"/>
                  <a:gd name="T11" fmla="*/ 301 h 359"/>
                  <a:gd name="T12" fmla="*/ 1 w 256"/>
                  <a:gd name="T13" fmla="*/ 287 h 359"/>
                  <a:gd name="T14" fmla="*/ 82 w 256"/>
                  <a:gd name="T15" fmla="*/ 3 h 359"/>
                  <a:gd name="T16" fmla="*/ 83 w 256"/>
                  <a:gd name="T17" fmla="*/ 0 h 359"/>
                  <a:gd name="T18" fmla="*/ 256 w 256"/>
                  <a:gd name="T19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6" h="359">
                    <a:moveTo>
                      <a:pt x="256" y="0"/>
                    </a:moveTo>
                    <a:cubicBezTo>
                      <a:pt x="244" y="25"/>
                      <a:pt x="232" y="50"/>
                      <a:pt x="219" y="74"/>
                    </a:cubicBezTo>
                    <a:cubicBezTo>
                      <a:pt x="194" y="122"/>
                      <a:pt x="167" y="169"/>
                      <a:pt x="141" y="216"/>
                    </a:cubicBezTo>
                    <a:cubicBezTo>
                      <a:pt x="117" y="261"/>
                      <a:pt x="93" y="305"/>
                      <a:pt x="69" y="350"/>
                    </a:cubicBezTo>
                    <a:cubicBezTo>
                      <a:pt x="67" y="353"/>
                      <a:pt x="65" y="355"/>
                      <a:pt x="61" y="359"/>
                    </a:cubicBezTo>
                    <a:cubicBezTo>
                      <a:pt x="48" y="333"/>
                      <a:pt x="31" y="312"/>
                      <a:pt x="4" y="301"/>
                    </a:cubicBezTo>
                    <a:cubicBezTo>
                      <a:pt x="2" y="300"/>
                      <a:pt x="0" y="291"/>
                      <a:pt x="1" y="287"/>
                    </a:cubicBezTo>
                    <a:cubicBezTo>
                      <a:pt x="28" y="192"/>
                      <a:pt x="55" y="98"/>
                      <a:pt x="82" y="3"/>
                    </a:cubicBezTo>
                    <a:cubicBezTo>
                      <a:pt x="82" y="2"/>
                      <a:pt x="83" y="1"/>
                      <a:pt x="83" y="0"/>
                    </a:cubicBezTo>
                    <a:cubicBezTo>
                      <a:pt x="141" y="0"/>
                      <a:pt x="199" y="0"/>
                      <a:pt x="25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B219BE86-AB8D-4BAC-B0F8-C90C31FA3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6394" y="3607427"/>
                <a:ext cx="4923136" cy="3862554"/>
              </a:xfrm>
              <a:custGeom>
                <a:avLst/>
                <a:gdLst>
                  <a:gd name="T0" fmla="*/ 540 w 872"/>
                  <a:gd name="T1" fmla="*/ 527 h 687"/>
                  <a:gd name="T2" fmla="*/ 368 w 872"/>
                  <a:gd name="T3" fmla="*/ 561 h 687"/>
                  <a:gd name="T4" fmla="*/ 287 w 872"/>
                  <a:gd name="T5" fmla="*/ 576 h 687"/>
                  <a:gd name="T6" fmla="*/ 261 w 872"/>
                  <a:gd name="T7" fmla="*/ 558 h 687"/>
                  <a:gd name="T8" fmla="*/ 379 w 872"/>
                  <a:gd name="T9" fmla="*/ 411 h 687"/>
                  <a:gd name="T10" fmla="*/ 316 w 872"/>
                  <a:gd name="T11" fmla="*/ 400 h 687"/>
                  <a:gd name="T12" fmla="*/ 162 w 872"/>
                  <a:gd name="T13" fmla="*/ 375 h 687"/>
                  <a:gd name="T14" fmla="*/ 14 w 872"/>
                  <a:gd name="T15" fmla="*/ 352 h 687"/>
                  <a:gd name="T16" fmla="*/ 3 w 872"/>
                  <a:gd name="T17" fmla="*/ 338 h 687"/>
                  <a:gd name="T18" fmla="*/ 45 w 872"/>
                  <a:gd name="T19" fmla="*/ 175 h 687"/>
                  <a:gd name="T20" fmla="*/ 74 w 872"/>
                  <a:gd name="T21" fmla="*/ 64 h 687"/>
                  <a:gd name="T22" fmla="*/ 435 w 872"/>
                  <a:gd name="T23" fmla="*/ 194 h 687"/>
                  <a:gd name="T24" fmla="*/ 422 w 872"/>
                  <a:gd name="T25" fmla="*/ 112 h 687"/>
                  <a:gd name="T26" fmla="*/ 405 w 872"/>
                  <a:gd name="T27" fmla="*/ 21 h 687"/>
                  <a:gd name="T28" fmla="*/ 417 w 872"/>
                  <a:gd name="T29" fmla="*/ 2 h 687"/>
                  <a:gd name="T30" fmla="*/ 434 w 872"/>
                  <a:gd name="T31" fmla="*/ 4 h 687"/>
                  <a:gd name="T32" fmla="*/ 570 w 872"/>
                  <a:gd name="T33" fmla="*/ 117 h 687"/>
                  <a:gd name="T34" fmla="*/ 638 w 872"/>
                  <a:gd name="T35" fmla="*/ 174 h 687"/>
                  <a:gd name="T36" fmla="*/ 694 w 872"/>
                  <a:gd name="T37" fmla="*/ 112 h 687"/>
                  <a:gd name="T38" fmla="*/ 740 w 872"/>
                  <a:gd name="T39" fmla="*/ 81 h 687"/>
                  <a:gd name="T40" fmla="*/ 852 w 872"/>
                  <a:gd name="T41" fmla="*/ 137 h 687"/>
                  <a:gd name="T42" fmla="*/ 863 w 872"/>
                  <a:gd name="T43" fmla="*/ 306 h 687"/>
                  <a:gd name="T44" fmla="*/ 795 w 872"/>
                  <a:gd name="T45" fmla="*/ 522 h 687"/>
                  <a:gd name="T46" fmla="*/ 682 w 872"/>
                  <a:gd name="T47" fmla="*/ 655 h 687"/>
                  <a:gd name="T48" fmla="*/ 560 w 872"/>
                  <a:gd name="T49" fmla="*/ 617 h 687"/>
                  <a:gd name="T50" fmla="*/ 546 w 872"/>
                  <a:gd name="T51" fmla="*/ 573 h 687"/>
                  <a:gd name="T52" fmla="*/ 540 w 872"/>
                  <a:gd name="T53" fmla="*/ 527 h 687"/>
                  <a:gd name="T54" fmla="*/ 733 w 872"/>
                  <a:gd name="T55" fmla="*/ 297 h 687"/>
                  <a:gd name="T56" fmla="*/ 446 w 872"/>
                  <a:gd name="T57" fmla="*/ 58 h 687"/>
                  <a:gd name="T58" fmla="*/ 479 w 872"/>
                  <a:gd name="T59" fmla="*/ 245 h 687"/>
                  <a:gd name="T60" fmla="*/ 97 w 872"/>
                  <a:gd name="T61" fmla="*/ 108 h 687"/>
                  <a:gd name="T62" fmla="*/ 42 w 872"/>
                  <a:gd name="T63" fmla="*/ 322 h 687"/>
                  <a:gd name="T64" fmla="*/ 443 w 872"/>
                  <a:gd name="T65" fmla="*/ 386 h 687"/>
                  <a:gd name="T66" fmla="*/ 324 w 872"/>
                  <a:gd name="T67" fmla="*/ 533 h 687"/>
                  <a:gd name="T68" fmla="*/ 408 w 872"/>
                  <a:gd name="T69" fmla="*/ 518 h 687"/>
                  <a:gd name="T70" fmla="*/ 651 w 872"/>
                  <a:gd name="T71" fmla="*/ 471 h 687"/>
                  <a:gd name="T72" fmla="*/ 684 w 872"/>
                  <a:gd name="T73" fmla="*/ 441 h 687"/>
                  <a:gd name="T74" fmla="*/ 733 w 872"/>
                  <a:gd name="T75" fmla="*/ 29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72" h="687">
                    <a:moveTo>
                      <a:pt x="540" y="527"/>
                    </a:moveTo>
                    <a:cubicBezTo>
                      <a:pt x="481" y="538"/>
                      <a:pt x="424" y="550"/>
                      <a:pt x="368" y="561"/>
                    </a:cubicBezTo>
                    <a:cubicBezTo>
                      <a:pt x="341" y="566"/>
                      <a:pt x="314" y="573"/>
                      <a:pt x="287" y="576"/>
                    </a:cubicBezTo>
                    <a:cubicBezTo>
                      <a:pt x="279" y="576"/>
                      <a:pt x="270" y="564"/>
                      <a:pt x="261" y="558"/>
                    </a:cubicBezTo>
                    <a:cubicBezTo>
                      <a:pt x="301" y="507"/>
                      <a:pt x="339" y="460"/>
                      <a:pt x="379" y="411"/>
                    </a:cubicBezTo>
                    <a:cubicBezTo>
                      <a:pt x="357" y="407"/>
                      <a:pt x="337" y="403"/>
                      <a:pt x="316" y="400"/>
                    </a:cubicBezTo>
                    <a:cubicBezTo>
                      <a:pt x="265" y="391"/>
                      <a:pt x="213" y="383"/>
                      <a:pt x="162" y="375"/>
                    </a:cubicBezTo>
                    <a:cubicBezTo>
                      <a:pt x="112" y="368"/>
                      <a:pt x="63" y="360"/>
                      <a:pt x="14" y="352"/>
                    </a:cubicBezTo>
                    <a:cubicBezTo>
                      <a:pt x="4" y="351"/>
                      <a:pt x="0" y="350"/>
                      <a:pt x="3" y="338"/>
                    </a:cubicBezTo>
                    <a:cubicBezTo>
                      <a:pt x="18" y="284"/>
                      <a:pt x="32" y="229"/>
                      <a:pt x="45" y="175"/>
                    </a:cubicBezTo>
                    <a:cubicBezTo>
                      <a:pt x="55" y="139"/>
                      <a:pt x="64" y="103"/>
                      <a:pt x="74" y="64"/>
                    </a:cubicBezTo>
                    <a:cubicBezTo>
                      <a:pt x="194" y="108"/>
                      <a:pt x="313" y="150"/>
                      <a:pt x="435" y="194"/>
                    </a:cubicBezTo>
                    <a:cubicBezTo>
                      <a:pt x="430" y="165"/>
                      <a:pt x="427" y="138"/>
                      <a:pt x="422" y="112"/>
                    </a:cubicBezTo>
                    <a:cubicBezTo>
                      <a:pt x="416" y="81"/>
                      <a:pt x="410" y="51"/>
                      <a:pt x="405" y="21"/>
                    </a:cubicBezTo>
                    <a:cubicBezTo>
                      <a:pt x="405" y="15"/>
                      <a:pt x="412" y="7"/>
                      <a:pt x="417" y="2"/>
                    </a:cubicBezTo>
                    <a:cubicBezTo>
                      <a:pt x="421" y="0"/>
                      <a:pt x="430" y="1"/>
                      <a:pt x="434" y="4"/>
                    </a:cubicBezTo>
                    <a:cubicBezTo>
                      <a:pt x="480" y="41"/>
                      <a:pt x="524" y="80"/>
                      <a:pt x="570" y="117"/>
                    </a:cubicBezTo>
                    <a:cubicBezTo>
                      <a:pt x="592" y="136"/>
                      <a:pt x="615" y="155"/>
                      <a:pt x="638" y="174"/>
                    </a:cubicBezTo>
                    <a:cubicBezTo>
                      <a:pt x="656" y="153"/>
                      <a:pt x="674" y="131"/>
                      <a:pt x="694" y="112"/>
                    </a:cubicBezTo>
                    <a:cubicBezTo>
                      <a:pt x="707" y="99"/>
                      <a:pt x="723" y="88"/>
                      <a:pt x="740" y="81"/>
                    </a:cubicBezTo>
                    <a:cubicBezTo>
                      <a:pt x="799" y="56"/>
                      <a:pt x="835" y="93"/>
                      <a:pt x="852" y="137"/>
                    </a:cubicBezTo>
                    <a:cubicBezTo>
                      <a:pt x="872" y="192"/>
                      <a:pt x="869" y="249"/>
                      <a:pt x="863" y="306"/>
                    </a:cubicBezTo>
                    <a:cubicBezTo>
                      <a:pt x="855" y="383"/>
                      <a:pt x="833" y="456"/>
                      <a:pt x="795" y="522"/>
                    </a:cubicBezTo>
                    <a:cubicBezTo>
                      <a:pt x="766" y="573"/>
                      <a:pt x="734" y="623"/>
                      <a:pt x="682" y="655"/>
                    </a:cubicBezTo>
                    <a:cubicBezTo>
                      <a:pt x="631" y="687"/>
                      <a:pt x="582" y="671"/>
                      <a:pt x="560" y="617"/>
                    </a:cubicBezTo>
                    <a:cubicBezTo>
                      <a:pt x="554" y="603"/>
                      <a:pt x="549" y="588"/>
                      <a:pt x="546" y="573"/>
                    </a:cubicBezTo>
                    <a:cubicBezTo>
                      <a:pt x="542" y="559"/>
                      <a:pt x="542" y="544"/>
                      <a:pt x="540" y="527"/>
                    </a:cubicBezTo>
                    <a:close/>
                    <a:moveTo>
                      <a:pt x="733" y="297"/>
                    </a:moveTo>
                    <a:cubicBezTo>
                      <a:pt x="638" y="218"/>
                      <a:pt x="544" y="139"/>
                      <a:pt x="446" y="58"/>
                    </a:cubicBezTo>
                    <a:cubicBezTo>
                      <a:pt x="458" y="122"/>
                      <a:pt x="468" y="182"/>
                      <a:pt x="479" y="245"/>
                    </a:cubicBezTo>
                    <a:cubicBezTo>
                      <a:pt x="350" y="199"/>
                      <a:pt x="224" y="154"/>
                      <a:pt x="97" y="108"/>
                    </a:cubicBezTo>
                    <a:cubicBezTo>
                      <a:pt x="78" y="181"/>
                      <a:pt x="60" y="251"/>
                      <a:pt x="42" y="322"/>
                    </a:cubicBezTo>
                    <a:cubicBezTo>
                      <a:pt x="177" y="344"/>
                      <a:pt x="309" y="364"/>
                      <a:pt x="443" y="386"/>
                    </a:cubicBezTo>
                    <a:cubicBezTo>
                      <a:pt x="403" y="436"/>
                      <a:pt x="365" y="483"/>
                      <a:pt x="324" y="533"/>
                    </a:cubicBezTo>
                    <a:cubicBezTo>
                      <a:pt x="355" y="528"/>
                      <a:pt x="381" y="523"/>
                      <a:pt x="408" y="518"/>
                    </a:cubicBezTo>
                    <a:cubicBezTo>
                      <a:pt x="489" y="503"/>
                      <a:pt x="569" y="487"/>
                      <a:pt x="651" y="471"/>
                    </a:cubicBezTo>
                    <a:cubicBezTo>
                      <a:pt x="669" y="468"/>
                      <a:pt x="678" y="460"/>
                      <a:pt x="684" y="441"/>
                    </a:cubicBezTo>
                    <a:cubicBezTo>
                      <a:pt x="698" y="393"/>
                      <a:pt x="716" y="346"/>
                      <a:pt x="733" y="29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EFBB356D-8086-4EFC-805B-769091C91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02386" y="5626700"/>
                <a:ext cx="2352730" cy="3459627"/>
              </a:xfrm>
              <a:custGeom>
                <a:avLst/>
                <a:gdLst>
                  <a:gd name="T0" fmla="*/ 416 w 416"/>
                  <a:gd name="T1" fmla="*/ 0 h 615"/>
                  <a:gd name="T2" fmla="*/ 217 w 416"/>
                  <a:gd name="T3" fmla="*/ 615 h 615"/>
                  <a:gd name="T4" fmla="*/ 193 w 416"/>
                  <a:gd name="T5" fmla="*/ 575 h 615"/>
                  <a:gd name="T6" fmla="*/ 95 w 416"/>
                  <a:gd name="T7" fmla="*/ 392 h 615"/>
                  <a:gd name="T8" fmla="*/ 4 w 416"/>
                  <a:gd name="T9" fmla="*/ 224 h 615"/>
                  <a:gd name="T10" fmla="*/ 4 w 416"/>
                  <a:gd name="T11" fmla="*/ 196 h 615"/>
                  <a:gd name="T12" fmla="*/ 67 w 416"/>
                  <a:gd name="T13" fmla="*/ 22 h 615"/>
                  <a:gd name="T14" fmla="*/ 92 w 416"/>
                  <a:gd name="T15" fmla="*/ 3 h 615"/>
                  <a:gd name="T16" fmla="*/ 279 w 416"/>
                  <a:gd name="T17" fmla="*/ 0 h 615"/>
                  <a:gd name="T18" fmla="*/ 416 w 416"/>
                  <a:gd name="T19" fmla="*/ 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6" h="615">
                    <a:moveTo>
                      <a:pt x="416" y="0"/>
                    </a:moveTo>
                    <a:cubicBezTo>
                      <a:pt x="350" y="203"/>
                      <a:pt x="285" y="407"/>
                      <a:pt x="217" y="615"/>
                    </a:cubicBezTo>
                    <a:cubicBezTo>
                      <a:pt x="208" y="599"/>
                      <a:pt x="200" y="588"/>
                      <a:pt x="193" y="575"/>
                    </a:cubicBezTo>
                    <a:cubicBezTo>
                      <a:pt x="160" y="514"/>
                      <a:pt x="128" y="453"/>
                      <a:pt x="95" y="392"/>
                    </a:cubicBezTo>
                    <a:cubicBezTo>
                      <a:pt x="65" y="336"/>
                      <a:pt x="34" y="281"/>
                      <a:pt x="4" y="224"/>
                    </a:cubicBezTo>
                    <a:cubicBezTo>
                      <a:pt x="0" y="217"/>
                      <a:pt x="1" y="204"/>
                      <a:pt x="4" y="196"/>
                    </a:cubicBezTo>
                    <a:cubicBezTo>
                      <a:pt x="31" y="140"/>
                      <a:pt x="53" y="83"/>
                      <a:pt x="67" y="22"/>
                    </a:cubicBezTo>
                    <a:cubicBezTo>
                      <a:pt x="70" y="9"/>
                      <a:pt x="76" y="3"/>
                      <a:pt x="92" y="3"/>
                    </a:cubicBezTo>
                    <a:cubicBezTo>
                      <a:pt x="154" y="3"/>
                      <a:pt x="216" y="1"/>
                      <a:pt x="279" y="0"/>
                    </a:cubicBezTo>
                    <a:cubicBezTo>
                      <a:pt x="324" y="0"/>
                      <a:pt x="368" y="0"/>
                      <a:pt x="41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8EC8C556-2A83-42CB-AD1C-2C11BD772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4929" y="7618184"/>
                <a:ext cx="1287518" cy="1718236"/>
              </a:xfrm>
              <a:custGeom>
                <a:avLst/>
                <a:gdLst>
                  <a:gd name="T0" fmla="*/ 169 w 228"/>
                  <a:gd name="T1" fmla="*/ 0 h 306"/>
                  <a:gd name="T2" fmla="*/ 225 w 228"/>
                  <a:gd name="T3" fmla="*/ 39 h 306"/>
                  <a:gd name="T4" fmla="*/ 227 w 228"/>
                  <a:gd name="T5" fmla="*/ 52 h 306"/>
                  <a:gd name="T6" fmla="*/ 158 w 228"/>
                  <a:gd name="T7" fmla="*/ 286 h 306"/>
                  <a:gd name="T8" fmla="*/ 132 w 228"/>
                  <a:gd name="T9" fmla="*/ 305 h 306"/>
                  <a:gd name="T10" fmla="*/ 0 w 228"/>
                  <a:gd name="T11" fmla="*/ 305 h 306"/>
                  <a:gd name="T12" fmla="*/ 169 w 228"/>
                  <a:gd name="T13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8" h="306">
                    <a:moveTo>
                      <a:pt x="169" y="0"/>
                    </a:moveTo>
                    <a:cubicBezTo>
                      <a:pt x="189" y="14"/>
                      <a:pt x="207" y="26"/>
                      <a:pt x="225" y="39"/>
                    </a:cubicBezTo>
                    <a:cubicBezTo>
                      <a:pt x="228" y="41"/>
                      <a:pt x="228" y="48"/>
                      <a:pt x="227" y="52"/>
                    </a:cubicBezTo>
                    <a:cubicBezTo>
                      <a:pt x="204" y="130"/>
                      <a:pt x="180" y="208"/>
                      <a:pt x="158" y="286"/>
                    </a:cubicBezTo>
                    <a:cubicBezTo>
                      <a:pt x="153" y="301"/>
                      <a:pt x="147" y="306"/>
                      <a:pt x="132" y="305"/>
                    </a:cubicBezTo>
                    <a:cubicBezTo>
                      <a:pt x="89" y="304"/>
                      <a:pt x="46" y="305"/>
                      <a:pt x="0" y="305"/>
                    </a:cubicBezTo>
                    <a:cubicBezTo>
                      <a:pt x="58" y="201"/>
                      <a:pt x="114" y="99"/>
                      <a:pt x="16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045DAA7F-6FD7-4742-929A-0E9F3211C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42363" y="3135028"/>
                <a:ext cx="1491298" cy="1454247"/>
              </a:xfrm>
              <a:custGeom>
                <a:avLst/>
                <a:gdLst>
                  <a:gd name="T0" fmla="*/ 264 w 264"/>
                  <a:gd name="T1" fmla="*/ 3 h 258"/>
                  <a:gd name="T2" fmla="*/ 15 w 264"/>
                  <a:gd name="T3" fmla="*/ 258 h 258"/>
                  <a:gd name="T4" fmla="*/ 37 w 264"/>
                  <a:gd name="T5" fmla="*/ 181 h 258"/>
                  <a:gd name="T6" fmla="*/ 140 w 264"/>
                  <a:gd name="T7" fmla="*/ 58 h 258"/>
                  <a:gd name="T8" fmla="*/ 200 w 264"/>
                  <a:gd name="T9" fmla="*/ 25 h 258"/>
                  <a:gd name="T10" fmla="*/ 262 w 264"/>
                  <a:gd name="T11" fmla="*/ 0 h 258"/>
                  <a:gd name="T12" fmla="*/ 264 w 264"/>
                  <a:gd name="T13" fmla="*/ 3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4" h="258">
                    <a:moveTo>
                      <a:pt x="264" y="3"/>
                    </a:moveTo>
                    <a:cubicBezTo>
                      <a:pt x="181" y="88"/>
                      <a:pt x="99" y="172"/>
                      <a:pt x="15" y="258"/>
                    </a:cubicBezTo>
                    <a:cubicBezTo>
                      <a:pt x="0" y="223"/>
                      <a:pt x="19" y="202"/>
                      <a:pt x="37" y="181"/>
                    </a:cubicBezTo>
                    <a:cubicBezTo>
                      <a:pt x="71" y="140"/>
                      <a:pt x="106" y="100"/>
                      <a:pt x="140" y="58"/>
                    </a:cubicBezTo>
                    <a:cubicBezTo>
                      <a:pt x="156" y="39"/>
                      <a:pt x="179" y="34"/>
                      <a:pt x="200" y="25"/>
                    </a:cubicBezTo>
                    <a:cubicBezTo>
                      <a:pt x="220" y="15"/>
                      <a:pt x="241" y="8"/>
                      <a:pt x="262" y="0"/>
                    </a:cubicBezTo>
                    <a:cubicBezTo>
                      <a:pt x="262" y="1"/>
                      <a:pt x="263" y="2"/>
                      <a:pt x="264" y="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DA8EF51E-203F-47A9-AEA3-138ECA65CD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7402" y="2764519"/>
                <a:ext cx="504820" cy="1472772"/>
              </a:xfrm>
              <a:custGeom>
                <a:avLst/>
                <a:gdLst>
                  <a:gd name="T0" fmla="*/ 63 w 89"/>
                  <a:gd name="T1" fmla="*/ 262 h 262"/>
                  <a:gd name="T2" fmla="*/ 2 w 89"/>
                  <a:gd name="T3" fmla="*/ 98 h 262"/>
                  <a:gd name="T4" fmla="*/ 4 w 89"/>
                  <a:gd name="T5" fmla="*/ 76 h 262"/>
                  <a:gd name="T6" fmla="*/ 48 w 89"/>
                  <a:gd name="T7" fmla="*/ 0 h 262"/>
                  <a:gd name="T8" fmla="*/ 67 w 89"/>
                  <a:gd name="T9" fmla="*/ 106 h 262"/>
                  <a:gd name="T10" fmla="*/ 88 w 89"/>
                  <a:gd name="T11" fmla="*/ 218 h 262"/>
                  <a:gd name="T12" fmla="*/ 84 w 89"/>
                  <a:gd name="T13" fmla="*/ 236 h 262"/>
                  <a:gd name="T14" fmla="*/ 63 w 89"/>
                  <a:gd name="T15" fmla="*/ 26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262">
                    <a:moveTo>
                      <a:pt x="63" y="262"/>
                    </a:moveTo>
                    <a:cubicBezTo>
                      <a:pt x="42" y="205"/>
                      <a:pt x="22" y="151"/>
                      <a:pt x="2" y="98"/>
                    </a:cubicBezTo>
                    <a:cubicBezTo>
                      <a:pt x="0" y="91"/>
                      <a:pt x="1" y="82"/>
                      <a:pt x="4" y="76"/>
                    </a:cubicBezTo>
                    <a:cubicBezTo>
                      <a:pt x="16" y="50"/>
                      <a:pt x="30" y="25"/>
                      <a:pt x="48" y="0"/>
                    </a:cubicBezTo>
                    <a:cubicBezTo>
                      <a:pt x="54" y="35"/>
                      <a:pt x="61" y="71"/>
                      <a:pt x="67" y="106"/>
                    </a:cubicBezTo>
                    <a:cubicBezTo>
                      <a:pt x="74" y="144"/>
                      <a:pt x="81" y="181"/>
                      <a:pt x="88" y="218"/>
                    </a:cubicBezTo>
                    <a:cubicBezTo>
                      <a:pt x="89" y="224"/>
                      <a:pt x="87" y="231"/>
                      <a:pt x="84" y="236"/>
                    </a:cubicBezTo>
                    <a:cubicBezTo>
                      <a:pt x="79" y="245"/>
                      <a:pt x="71" y="252"/>
                      <a:pt x="63" y="26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DD008AF4-27ED-4266-8620-3ADE0C147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7038" y="7229150"/>
                <a:ext cx="569659" cy="1338464"/>
              </a:xfrm>
              <a:custGeom>
                <a:avLst/>
                <a:gdLst>
                  <a:gd name="T0" fmla="*/ 97 w 101"/>
                  <a:gd name="T1" fmla="*/ 238 h 238"/>
                  <a:gd name="T2" fmla="*/ 65 w 101"/>
                  <a:gd name="T3" fmla="*/ 220 h 238"/>
                  <a:gd name="T4" fmla="*/ 64 w 101"/>
                  <a:gd name="T5" fmla="*/ 219 h 238"/>
                  <a:gd name="T6" fmla="*/ 18 w 101"/>
                  <a:gd name="T7" fmla="*/ 147 h 238"/>
                  <a:gd name="T8" fmla="*/ 3 w 101"/>
                  <a:gd name="T9" fmla="*/ 52 h 238"/>
                  <a:gd name="T10" fmla="*/ 27 w 101"/>
                  <a:gd name="T11" fmla="*/ 0 h 238"/>
                  <a:gd name="T12" fmla="*/ 101 w 101"/>
                  <a:gd name="T13" fmla="*/ 234 h 238"/>
                  <a:gd name="T14" fmla="*/ 97 w 101"/>
                  <a:gd name="T15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238">
                    <a:moveTo>
                      <a:pt x="97" y="238"/>
                    </a:moveTo>
                    <a:cubicBezTo>
                      <a:pt x="87" y="232"/>
                      <a:pt x="76" y="226"/>
                      <a:pt x="65" y="220"/>
                    </a:cubicBezTo>
                    <a:cubicBezTo>
                      <a:pt x="65" y="220"/>
                      <a:pt x="64" y="219"/>
                      <a:pt x="64" y="219"/>
                    </a:cubicBezTo>
                    <a:cubicBezTo>
                      <a:pt x="27" y="209"/>
                      <a:pt x="23" y="178"/>
                      <a:pt x="18" y="147"/>
                    </a:cubicBezTo>
                    <a:cubicBezTo>
                      <a:pt x="14" y="115"/>
                      <a:pt x="8" y="84"/>
                      <a:pt x="3" y="52"/>
                    </a:cubicBezTo>
                    <a:cubicBezTo>
                      <a:pt x="0" y="26"/>
                      <a:pt x="2" y="22"/>
                      <a:pt x="27" y="0"/>
                    </a:cubicBezTo>
                    <a:cubicBezTo>
                      <a:pt x="52" y="79"/>
                      <a:pt x="77" y="157"/>
                      <a:pt x="101" y="234"/>
                    </a:cubicBezTo>
                    <a:cubicBezTo>
                      <a:pt x="100" y="235"/>
                      <a:pt x="99" y="237"/>
                      <a:pt x="97" y="23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BEADC39E-91F3-4E0F-AE0E-5E338461C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8648" y="7696919"/>
                <a:ext cx="351983" cy="1556137"/>
              </a:xfrm>
              <a:custGeom>
                <a:avLst/>
                <a:gdLst>
                  <a:gd name="T0" fmla="*/ 62 w 62"/>
                  <a:gd name="T1" fmla="*/ 4 h 277"/>
                  <a:gd name="T2" fmla="*/ 52 w 62"/>
                  <a:gd name="T3" fmla="*/ 277 h 277"/>
                  <a:gd name="T4" fmla="*/ 17 w 62"/>
                  <a:gd name="T5" fmla="*/ 241 h 277"/>
                  <a:gd name="T6" fmla="*/ 8 w 62"/>
                  <a:gd name="T7" fmla="*/ 191 h 277"/>
                  <a:gd name="T8" fmla="*/ 21 w 62"/>
                  <a:gd name="T9" fmla="*/ 98 h 277"/>
                  <a:gd name="T10" fmla="*/ 33 w 62"/>
                  <a:gd name="T11" fmla="*/ 21 h 277"/>
                  <a:gd name="T12" fmla="*/ 56 w 62"/>
                  <a:gd name="T13" fmla="*/ 0 h 277"/>
                  <a:gd name="T14" fmla="*/ 62 w 62"/>
                  <a:gd name="T15" fmla="*/ 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2" h="277">
                    <a:moveTo>
                      <a:pt x="62" y="4"/>
                    </a:moveTo>
                    <a:cubicBezTo>
                      <a:pt x="59" y="93"/>
                      <a:pt x="56" y="182"/>
                      <a:pt x="52" y="277"/>
                    </a:cubicBezTo>
                    <a:cubicBezTo>
                      <a:pt x="39" y="263"/>
                      <a:pt x="29" y="251"/>
                      <a:pt x="17" y="241"/>
                    </a:cubicBezTo>
                    <a:cubicBezTo>
                      <a:pt x="0" y="226"/>
                      <a:pt x="5" y="209"/>
                      <a:pt x="8" y="191"/>
                    </a:cubicBezTo>
                    <a:cubicBezTo>
                      <a:pt x="12" y="160"/>
                      <a:pt x="17" y="129"/>
                      <a:pt x="21" y="98"/>
                    </a:cubicBezTo>
                    <a:cubicBezTo>
                      <a:pt x="25" y="73"/>
                      <a:pt x="27" y="47"/>
                      <a:pt x="33" y="21"/>
                    </a:cubicBezTo>
                    <a:cubicBezTo>
                      <a:pt x="35" y="13"/>
                      <a:pt x="48" y="7"/>
                      <a:pt x="56" y="0"/>
                    </a:cubicBezTo>
                    <a:cubicBezTo>
                      <a:pt x="58" y="1"/>
                      <a:pt x="60" y="2"/>
                      <a:pt x="62" y="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0F1065EA-D022-48F4-92E8-7961C7657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3049" y="2532952"/>
                <a:ext cx="314932" cy="1208786"/>
              </a:xfrm>
              <a:custGeom>
                <a:avLst/>
                <a:gdLst>
                  <a:gd name="T0" fmla="*/ 9 w 56"/>
                  <a:gd name="T1" fmla="*/ 215 h 215"/>
                  <a:gd name="T2" fmla="*/ 7 w 56"/>
                  <a:gd name="T3" fmla="*/ 207 h 215"/>
                  <a:gd name="T4" fmla="*/ 3 w 56"/>
                  <a:gd name="T5" fmla="*/ 106 h 215"/>
                  <a:gd name="T6" fmla="*/ 29 w 56"/>
                  <a:gd name="T7" fmla="*/ 31 h 215"/>
                  <a:gd name="T8" fmla="*/ 52 w 56"/>
                  <a:gd name="T9" fmla="*/ 0 h 215"/>
                  <a:gd name="T10" fmla="*/ 56 w 56"/>
                  <a:gd name="T11" fmla="*/ 1 h 215"/>
                  <a:gd name="T12" fmla="*/ 43 w 56"/>
                  <a:gd name="T13" fmla="*/ 188 h 215"/>
                  <a:gd name="T14" fmla="*/ 9 w 56"/>
                  <a:gd name="T15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215">
                    <a:moveTo>
                      <a:pt x="9" y="215"/>
                    </a:moveTo>
                    <a:cubicBezTo>
                      <a:pt x="8" y="211"/>
                      <a:pt x="7" y="209"/>
                      <a:pt x="7" y="207"/>
                    </a:cubicBezTo>
                    <a:cubicBezTo>
                      <a:pt x="6" y="173"/>
                      <a:pt x="7" y="139"/>
                      <a:pt x="3" y="106"/>
                    </a:cubicBezTo>
                    <a:cubicBezTo>
                      <a:pt x="0" y="75"/>
                      <a:pt x="13" y="53"/>
                      <a:pt x="29" y="31"/>
                    </a:cubicBezTo>
                    <a:cubicBezTo>
                      <a:pt x="37" y="20"/>
                      <a:pt x="44" y="10"/>
                      <a:pt x="52" y="0"/>
                    </a:cubicBezTo>
                    <a:cubicBezTo>
                      <a:pt x="53" y="0"/>
                      <a:pt x="55" y="1"/>
                      <a:pt x="56" y="1"/>
                    </a:cubicBezTo>
                    <a:cubicBezTo>
                      <a:pt x="52" y="63"/>
                      <a:pt x="48" y="126"/>
                      <a:pt x="43" y="188"/>
                    </a:cubicBezTo>
                    <a:cubicBezTo>
                      <a:pt x="41" y="205"/>
                      <a:pt x="23" y="207"/>
                      <a:pt x="9" y="21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5AA1DD24-C0FA-4B45-BF26-AF2D6C1DB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0599" y="6942006"/>
                <a:ext cx="537238" cy="940167"/>
              </a:xfrm>
              <a:custGeom>
                <a:avLst/>
                <a:gdLst>
                  <a:gd name="T0" fmla="*/ 0 w 95"/>
                  <a:gd name="T1" fmla="*/ 165 h 167"/>
                  <a:gd name="T2" fmla="*/ 20 w 95"/>
                  <a:gd name="T3" fmla="*/ 66 h 167"/>
                  <a:gd name="T4" fmla="*/ 33 w 95"/>
                  <a:gd name="T5" fmla="*/ 45 h 167"/>
                  <a:gd name="T6" fmla="*/ 82 w 95"/>
                  <a:gd name="T7" fmla="*/ 0 h 167"/>
                  <a:gd name="T8" fmla="*/ 72 w 95"/>
                  <a:gd name="T9" fmla="*/ 77 h 167"/>
                  <a:gd name="T10" fmla="*/ 4 w 95"/>
                  <a:gd name="T11" fmla="*/ 167 h 167"/>
                  <a:gd name="T12" fmla="*/ 0 w 95"/>
                  <a:gd name="T13" fmla="*/ 165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167">
                    <a:moveTo>
                      <a:pt x="0" y="165"/>
                    </a:moveTo>
                    <a:cubicBezTo>
                      <a:pt x="7" y="132"/>
                      <a:pt x="13" y="99"/>
                      <a:pt x="20" y="66"/>
                    </a:cubicBezTo>
                    <a:cubicBezTo>
                      <a:pt x="22" y="58"/>
                      <a:pt x="28" y="51"/>
                      <a:pt x="33" y="45"/>
                    </a:cubicBezTo>
                    <a:cubicBezTo>
                      <a:pt x="49" y="30"/>
                      <a:pt x="65" y="16"/>
                      <a:pt x="82" y="0"/>
                    </a:cubicBezTo>
                    <a:cubicBezTo>
                      <a:pt x="91" y="29"/>
                      <a:pt x="95" y="53"/>
                      <a:pt x="72" y="77"/>
                    </a:cubicBezTo>
                    <a:cubicBezTo>
                      <a:pt x="47" y="104"/>
                      <a:pt x="27" y="137"/>
                      <a:pt x="4" y="167"/>
                    </a:cubicBezTo>
                    <a:cubicBezTo>
                      <a:pt x="3" y="166"/>
                      <a:pt x="1" y="166"/>
                      <a:pt x="0" y="16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923187A3-4184-4791-AD01-6A5D3AB90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79414" y="4473493"/>
                <a:ext cx="666916" cy="699337"/>
              </a:xfrm>
              <a:custGeom>
                <a:avLst/>
                <a:gdLst>
                  <a:gd name="T0" fmla="*/ 118 w 118"/>
                  <a:gd name="T1" fmla="*/ 3 h 124"/>
                  <a:gd name="T2" fmla="*/ 96 w 118"/>
                  <a:gd name="T3" fmla="*/ 72 h 124"/>
                  <a:gd name="T4" fmla="*/ 79 w 118"/>
                  <a:gd name="T5" fmla="*/ 86 h 124"/>
                  <a:gd name="T6" fmla="*/ 7 w 118"/>
                  <a:gd name="T7" fmla="*/ 124 h 124"/>
                  <a:gd name="T8" fmla="*/ 32 w 118"/>
                  <a:gd name="T9" fmla="*/ 60 h 124"/>
                  <a:gd name="T10" fmla="*/ 114 w 118"/>
                  <a:gd name="T11" fmla="*/ 0 h 124"/>
                  <a:gd name="T12" fmla="*/ 118 w 118"/>
                  <a:gd name="T13" fmla="*/ 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8" h="124">
                    <a:moveTo>
                      <a:pt x="118" y="3"/>
                    </a:moveTo>
                    <a:cubicBezTo>
                      <a:pt x="111" y="26"/>
                      <a:pt x="105" y="49"/>
                      <a:pt x="96" y="72"/>
                    </a:cubicBezTo>
                    <a:cubicBezTo>
                      <a:pt x="94" y="78"/>
                      <a:pt x="85" y="82"/>
                      <a:pt x="79" y="86"/>
                    </a:cubicBezTo>
                    <a:cubicBezTo>
                      <a:pt x="55" y="99"/>
                      <a:pt x="31" y="111"/>
                      <a:pt x="7" y="124"/>
                    </a:cubicBezTo>
                    <a:cubicBezTo>
                      <a:pt x="0" y="96"/>
                      <a:pt x="6" y="75"/>
                      <a:pt x="32" y="60"/>
                    </a:cubicBezTo>
                    <a:cubicBezTo>
                      <a:pt x="61" y="42"/>
                      <a:pt x="87" y="20"/>
                      <a:pt x="114" y="0"/>
                    </a:cubicBezTo>
                    <a:cubicBezTo>
                      <a:pt x="115" y="1"/>
                      <a:pt x="117" y="2"/>
                      <a:pt x="118" y="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A61466B-5E56-44FF-B2A3-576DBCF885D3}"/>
                  </a:ext>
                </a:extLst>
              </p:cNvPr>
              <p:cNvSpPr/>
              <p:nvPr/>
            </p:nvSpPr>
            <p:spPr>
              <a:xfrm rot="993707">
                <a:off x="7957927" y="3906063"/>
                <a:ext cx="1762612" cy="358604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FE23237C-D459-4498-A06D-C7CBC9F768C4}"/>
                  </a:ext>
                </a:extLst>
              </p:cNvPr>
              <p:cNvSpPr/>
              <p:nvPr/>
            </p:nvSpPr>
            <p:spPr>
              <a:xfrm rot="17602382">
                <a:off x="9916433" y="2517226"/>
                <a:ext cx="461665" cy="276999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</a:rPr>
                  <a:t>Feel</a:t>
                </a: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255826CA-3A06-487B-863B-DC3233C7C294}"/>
                  </a:ext>
                </a:extLst>
              </p:cNvPr>
              <p:cNvSpPr/>
              <p:nvPr/>
            </p:nvSpPr>
            <p:spPr>
              <a:xfrm rot="17514337">
                <a:off x="10177293" y="6610419"/>
                <a:ext cx="628377" cy="276999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</a:rPr>
                  <a:t>Know</a:t>
                </a: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13B1AB5A-4285-445D-820E-FECD5A7E6F02}"/>
                  </a:ext>
                </a:extLst>
              </p:cNvPr>
              <p:cNvSpPr/>
              <p:nvPr/>
            </p:nvSpPr>
            <p:spPr>
              <a:xfrm rot="17514337">
                <a:off x="7510444" y="8387420"/>
                <a:ext cx="307777" cy="276999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</a:rPr>
                  <a:t>Do</a:t>
                </a: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3A206535-E32E-42CF-8B6C-1079E949EBC6}"/>
                  </a:ext>
                </a:extLst>
              </p:cNvPr>
              <p:cNvSpPr/>
              <p:nvPr/>
            </p:nvSpPr>
            <p:spPr>
              <a:xfrm rot="993707">
                <a:off x="8104157" y="4203569"/>
                <a:ext cx="1470152" cy="2991030"/>
              </a:xfrm>
              <a:prstGeom prst="ellipse">
                <a:avLst/>
              </a:prstGeom>
              <a:solidFill>
                <a:schemeClr val="accent2"/>
              </a:solidFill>
              <a:ln w="857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4EBAB23-4FA5-42CB-94C6-5E55F715DA10}"/>
                  </a:ext>
                </a:extLst>
              </p:cNvPr>
              <p:cNvSpPr/>
              <p:nvPr/>
            </p:nvSpPr>
            <p:spPr>
              <a:xfrm rot="993707">
                <a:off x="8379283" y="4793172"/>
                <a:ext cx="878148" cy="1786596"/>
              </a:xfrm>
              <a:prstGeom prst="ellipse">
                <a:avLst/>
              </a:prstGeom>
              <a:solidFill>
                <a:schemeClr val="accent2"/>
              </a:solidFill>
              <a:ln w="857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45" name="Freeform 17">
                <a:extLst>
                  <a:ext uri="{FF2B5EF4-FFF2-40B4-BE49-F238E27FC236}">
                    <a16:creationId xmlns:a16="http://schemas.microsoft.com/office/drawing/2014/main" id="{2698086A-C5CC-4BB1-98AE-5AA87AB39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595" y="3936255"/>
                <a:ext cx="3904237" cy="2667663"/>
              </a:xfrm>
              <a:custGeom>
                <a:avLst/>
                <a:gdLst>
                  <a:gd name="T0" fmla="*/ 691 w 691"/>
                  <a:gd name="T1" fmla="*/ 239 h 475"/>
                  <a:gd name="T2" fmla="*/ 642 w 691"/>
                  <a:gd name="T3" fmla="*/ 383 h 475"/>
                  <a:gd name="T4" fmla="*/ 609 w 691"/>
                  <a:gd name="T5" fmla="*/ 413 h 475"/>
                  <a:gd name="T6" fmla="*/ 366 w 691"/>
                  <a:gd name="T7" fmla="*/ 460 h 475"/>
                  <a:gd name="T8" fmla="*/ 282 w 691"/>
                  <a:gd name="T9" fmla="*/ 475 h 475"/>
                  <a:gd name="T10" fmla="*/ 401 w 691"/>
                  <a:gd name="T11" fmla="*/ 328 h 475"/>
                  <a:gd name="T12" fmla="*/ 0 w 691"/>
                  <a:gd name="T13" fmla="*/ 264 h 475"/>
                  <a:gd name="T14" fmla="*/ 55 w 691"/>
                  <a:gd name="T15" fmla="*/ 50 h 475"/>
                  <a:gd name="T16" fmla="*/ 437 w 691"/>
                  <a:gd name="T17" fmla="*/ 187 h 475"/>
                  <a:gd name="T18" fmla="*/ 404 w 691"/>
                  <a:gd name="T19" fmla="*/ 0 h 475"/>
                  <a:gd name="T20" fmla="*/ 691 w 691"/>
                  <a:gd name="T21" fmla="*/ 239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1" h="475">
                    <a:moveTo>
                      <a:pt x="691" y="239"/>
                    </a:moveTo>
                    <a:cubicBezTo>
                      <a:pt x="674" y="288"/>
                      <a:pt x="656" y="335"/>
                      <a:pt x="642" y="383"/>
                    </a:cubicBezTo>
                    <a:cubicBezTo>
                      <a:pt x="636" y="402"/>
                      <a:pt x="627" y="410"/>
                      <a:pt x="609" y="413"/>
                    </a:cubicBezTo>
                    <a:cubicBezTo>
                      <a:pt x="527" y="429"/>
                      <a:pt x="447" y="445"/>
                      <a:pt x="366" y="460"/>
                    </a:cubicBezTo>
                    <a:cubicBezTo>
                      <a:pt x="339" y="465"/>
                      <a:pt x="313" y="470"/>
                      <a:pt x="282" y="475"/>
                    </a:cubicBezTo>
                    <a:cubicBezTo>
                      <a:pt x="323" y="425"/>
                      <a:pt x="361" y="378"/>
                      <a:pt x="401" y="328"/>
                    </a:cubicBezTo>
                    <a:cubicBezTo>
                      <a:pt x="267" y="306"/>
                      <a:pt x="135" y="286"/>
                      <a:pt x="0" y="264"/>
                    </a:cubicBezTo>
                    <a:cubicBezTo>
                      <a:pt x="18" y="193"/>
                      <a:pt x="36" y="123"/>
                      <a:pt x="55" y="50"/>
                    </a:cubicBezTo>
                    <a:cubicBezTo>
                      <a:pt x="182" y="96"/>
                      <a:pt x="308" y="141"/>
                      <a:pt x="437" y="187"/>
                    </a:cubicBezTo>
                    <a:cubicBezTo>
                      <a:pt x="426" y="124"/>
                      <a:pt x="416" y="64"/>
                      <a:pt x="404" y="0"/>
                    </a:cubicBezTo>
                    <a:cubicBezTo>
                      <a:pt x="502" y="81"/>
                      <a:pt x="596" y="160"/>
                      <a:pt x="691" y="23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CE9DDB4-B059-4D92-A8E2-C9ABFFD77687}"/>
                  </a:ext>
                </a:extLst>
              </p:cNvPr>
              <p:cNvSpPr/>
              <p:nvPr/>
            </p:nvSpPr>
            <p:spPr>
              <a:xfrm rot="819930">
                <a:off x="5676158" y="4933338"/>
                <a:ext cx="2595262" cy="615553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algn="ctr"/>
                <a:r>
                  <a:rPr lang="en-IN" sz="4000" b="1" dirty="0">
                    <a:solidFill>
                      <a:schemeClr val="tx2"/>
                    </a:solidFill>
                  </a:rPr>
                  <a:t>Objectives</a:t>
                </a:r>
                <a:endParaRPr lang="en-GB" sz="40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667AB7B-898B-406F-96D6-8DB218B00CF9}"/>
                </a:ext>
              </a:extLst>
            </p:cNvPr>
            <p:cNvGrpSpPr/>
            <p:nvPr/>
          </p:nvGrpSpPr>
          <p:grpSpPr>
            <a:xfrm>
              <a:off x="10605478" y="2331978"/>
              <a:ext cx="6968145" cy="1627758"/>
              <a:chOff x="10961262" y="2336672"/>
              <a:chExt cx="6702739" cy="1645014"/>
            </a:xfrm>
            <a:solidFill>
              <a:schemeClr val="accent1"/>
            </a:solidFill>
          </p:grpSpPr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D9D4104A-CE79-40CE-BABC-63F15A9C2D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61262" y="2336672"/>
                <a:ext cx="6558360" cy="0"/>
              </a:xfrm>
              <a:prstGeom prst="line">
                <a:avLst/>
              </a:prstGeom>
              <a:grpFill/>
              <a:ln w="25400">
                <a:solidFill>
                  <a:schemeClr val="accent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68AFF2DB-65C2-486D-9A6C-25B2F1C6B0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519622" y="2336672"/>
                <a:ext cx="0" cy="1378607"/>
              </a:xfrm>
              <a:prstGeom prst="line">
                <a:avLst/>
              </a:prstGeom>
              <a:grpFill/>
              <a:ln w="25400">
                <a:solidFill>
                  <a:schemeClr val="accent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78215A9-BA49-439F-9B90-D657AD83922B}"/>
                  </a:ext>
                </a:extLst>
              </p:cNvPr>
              <p:cNvGrpSpPr/>
              <p:nvPr/>
            </p:nvGrpSpPr>
            <p:grpSpPr>
              <a:xfrm>
                <a:off x="17375243" y="3692928"/>
                <a:ext cx="288758" cy="288758"/>
                <a:chOff x="17375243" y="3692928"/>
                <a:chExt cx="288758" cy="288758"/>
              </a:xfrm>
              <a:grpFill/>
            </p:grpSpPr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9EF5C471-79A7-413B-916A-7AE6F49EF820}"/>
                    </a:ext>
                  </a:extLst>
                </p:cNvPr>
                <p:cNvSpPr/>
                <p:nvPr/>
              </p:nvSpPr>
              <p:spPr>
                <a:xfrm>
                  <a:off x="17375243" y="3692928"/>
                  <a:ext cx="288758" cy="288758"/>
                </a:xfrm>
                <a:prstGeom prst="ellipse">
                  <a:avLst/>
                </a:prstGeom>
                <a:grpFill/>
                <a:ln w="76200" cmpd="sng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kumimoji="1" lang="en-GB" dirty="0"/>
                </a:p>
              </p:txBody>
            </p:sp>
            <p:sp>
              <p:nvSpPr>
                <p:cNvPr id="69" name="Oval 68">
                  <a:extLst>
                    <a:ext uri="{FF2B5EF4-FFF2-40B4-BE49-F238E27FC236}">
                      <a16:creationId xmlns:a16="http://schemas.microsoft.com/office/drawing/2014/main" id="{0869FF0C-5183-4522-B5AF-EAE486594CB0}"/>
                    </a:ext>
                  </a:extLst>
                </p:cNvPr>
                <p:cNvSpPr/>
                <p:nvPr/>
              </p:nvSpPr>
              <p:spPr>
                <a:xfrm>
                  <a:off x="17452284" y="3769969"/>
                  <a:ext cx="134676" cy="134676"/>
                </a:xfrm>
                <a:prstGeom prst="ellipse">
                  <a:avLst/>
                </a:prstGeom>
                <a:grpFill/>
                <a:ln w="76200" cmpd="sng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kumimoji="1" lang="en-GB" dirty="0"/>
                </a:p>
              </p:txBody>
            </p:sp>
          </p:grp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3D763F6-C842-432B-97EE-9C9DA64DA016}"/>
                </a:ext>
              </a:extLst>
            </p:cNvPr>
            <p:cNvGrpSpPr/>
            <p:nvPr/>
          </p:nvGrpSpPr>
          <p:grpSpPr>
            <a:xfrm>
              <a:off x="10605477" y="7044894"/>
              <a:ext cx="6968147" cy="1622580"/>
              <a:chOff x="10961262" y="7099549"/>
              <a:chExt cx="6702739" cy="1639781"/>
            </a:xfrm>
            <a:solidFill>
              <a:schemeClr val="accent1"/>
            </a:solidFill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16EDA653-1CFF-442E-8D5E-4A0A7675016D}"/>
                  </a:ext>
                </a:extLst>
              </p:cNvPr>
              <p:cNvGrpSpPr/>
              <p:nvPr/>
            </p:nvGrpSpPr>
            <p:grpSpPr>
              <a:xfrm flipV="1">
                <a:off x="10961262" y="7360723"/>
                <a:ext cx="6558360" cy="1378607"/>
                <a:chOff x="10961262" y="9070418"/>
                <a:chExt cx="6558360" cy="1378607"/>
              </a:xfrm>
              <a:grpFill/>
            </p:grpSpPr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5B2FA0E1-6A91-44EF-85C0-D091531914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961262" y="9070418"/>
                  <a:ext cx="6558360" cy="0"/>
                </a:xfrm>
                <a:prstGeom prst="line">
                  <a:avLst/>
                </a:prstGeom>
                <a:grpFill/>
                <a:ln w="25400">
                  <a:solidFill>
                    <a:schemeClr val="accent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73429A1A-368E-49A2-9191-470D71E03D0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519622" y="9070418"/>
                  <a:ext cx="0" cy="1378607"/>
                </a:xfrm>
                <a:prstGeom prst="line">
                  <a:avLst/>
                </a:prstGeom>
                <a:grpFill/>
                <a:ln w="25400">
                  <a:solidFill>
                    <a:schemeClr val="accent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91D32F7B-FB75-4A16-BBD3-C43224BE84FE}"/>
                  </a:ext>
                </a:extLst>
              </p:cNvPr>
              <p:cNvGrpSpPr/>
              <p:nvPr/>
            </p:nvGrpSpPr>
            <p:grpSpPr>
              <a:xfrm>
                <a:off x="17375243" y="7099549"/>
                <a:ext cx="288758" cy="288758"/>
                <a:chOff x="17375243" y="3692928"/>
                <a:chExt cx="288758" cy="288758"/>
              </a:xfrm>
              <a:grpFill/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77575232-293C-4B6F-B316-C2483DCF0A9C}"/>
                    </a:ext>
                  </a:extLst>
                </p:cNvPr>
                <p:cNvSpPr/>
                <p:nvPr/>
              </p:nvSpPr>
              <p:spPr>
                <a:xfrm>
                  <a:off x="17375243" y="3692928"/>
                  <a:ext cx="288758" cy="288758"/>
                </a:xfrm>
                <a:prstGeom prst="ellipse">
                  <a:avLst/>
                </a:prstGeom>
                <a:grpFill/>
                <a:ln w="76200" cmpd="sng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kumimoji="1" lang="en-GB" dirty="0"/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CCC983D7-5E9B-4347-A63F-A71EB0DF6D62}"/>
                    </a:ext>
                  </a:extLst>
                </p:cNvPr>
                <p:cNvSpPr/>
                <p:nvPr/>
              </p:nvSpPr>
              <p:spPr>
                <a:xfrm>
                  <a:off x="17452284" y="3769969"/>
                  <a:ext cx="134676" cy="134676"/>
                </a:xfrm>
                <a:prstGeom prst="ellipse">
                  <a:avLst/>
                </a:prstGeom>
                <a:grpFill/>
                <a:ln w="76200" cmpd="sng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kumimoji="1" lang="en-GB" dirty="0"/>
                </a:p>
              </p:txBody>
            </p:sp>
          </p:grp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9C1F1E3-1A15-4135-BEFD-2215C360D39E}"/>
                </a:ext>
              </a:extLst>
            </p:cNvPr>
            <p:cNvGrpSpPr/>
            <p:nvPr/>
          </p:nvGrpSpPr>
          <p:grpSpPr>
            <a:xfrm>
              <a:off x="767582" y="7044894"/>
              <a:ext cx="6095390" cy="1622580"/>
              <a:chOff x="385969" y="7099549"/>
              <a:chExt cx="6697140" cy="1639781"/>
            </a:xfrm>
            <a:solidFill>
              <a:schemeClr val="accent1"/>
            </a:solidFill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399AD6A2-496C-4A20-B6C6-CEBC26CF3DB1}"/>
                  </a:ext>
                </a:extLst>
              </p:cNvPr>
              <p:cNvGrpSpPr/>
              <p:nvPr/>
            </p:nvGrpSpPr>
            <p:grpSpPr>
              <a:xfrm flipH="1" flipV="1">
                <a:off x="524749" y="7360723"/>
                <a:ext cx="6558360" cy="1378607"/>
                <a:chOff x="10961262" y="9070418"/>
                <a:chExt cx="6558360" cy="1378607"/>
              </a:xfrm>
              <a:grpFill/>
            </p:grpSpPr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C87A50F5-711B-4D07-B733-80866B1BCA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961262" y="9070418"/>
                  <a:ext cx="6558360" cy="0"/>
                </a:xfrm>
                <a:prstGeom prst="line">
                  <a:avLst/>
                </a:prstGeom>
                <a:grpFill/>
                <a:ln w="25400">
                  <a:solidFill>
                    <a:schemeClr val="accent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E950554E-337A-4A28-8D6F-DEEF09BF89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519622" y="9070418"/>
                  <a:ext cx="0" cy="1378607"/>
                </a:xfrm>
                <a:prstGeom prst="line">
                  <a:avLst/>
                </a:prstGeom>
                <a:grpFill/>
                <a:ln w="25400">
                  <a:solidFill>
                    <a:schemeClr val="accent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2E1AC685-EAC6-458F-B1A9-7ABE0C8E6A9A}"/>
                  </a:ext>
                </a:extLst>
              </p:cNvPr>
              <p:cNvGrpSpPr/>
              <p:nvPr/>
            </p:nvGrpSpPr>
            <p:grpSpPr>
              <a:xfrm>
                <a:off x="385969" y="7099549"/>
                <a:ext cx="288758" cy="288758"/>
                <a:chOff x="17375243" y="3692928"/>
                <a:chExt cx="288758" cy="288758"/>
              </a:xfrm>
              <a:grpFill/>
            </p:grpSpPr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42C9C001-E6E5-48CA-8DEB-E8741AFA5DA8}"/>
                    </a:ext>
                  </a:extLst>
                </p:cNvPr>
                <p:cNvSpPr/>
                <p:nvPr/>
              </p:nvSpPr>
              <p:spPr>
                <a:xfrm>
                  <a:off x="17375243" y="3692928"/>
                  <a:ext cx="288758" cy="288758"/>
                </a:xfrm>
                <a:prstGeom prst="ellipse">
                  <a:avLst/>
                </a:prstGeom>
                <a:grpFill/>
                <a:ln w="76200" cmpd="sng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kumimoji="1" lang="en-GB" dirty="0"/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E576D688-FDEC-42B3-822D-184AB0E0BFAE}"/>
                    </a:ext>
                  </a:extLst>
                </p:cNvPr>
                <p:cNvSpPr/>
                <p:nvPr/>
              </p:nvSpPr>
              <p:spPr>
                <a:xfrm>
                  <a:off x="17452284" y="3769969"/>
                  <a:ext cx="134676" cy="134676"/>
                </a:xfrm>
                <a:prstGeom prst="ellipse">
                  <a:avLst/>
                </a:prstGeom>
                <a:grpFill/>
                <a:ln w="76200" cmpd="sng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kumimoji="1" lang="en-GB" dirty="0"/>
                </a:p>
              </p:txBody>
            </p:sp>
          </p:grp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43E55-2B5B-5594-8634-5613A750B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043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10000">
        <p159:morph option="byObject"/>
      </p:transition>
    </mc:Choice>
    <mc:Fallback xmlns="">
      <p:transition spd="slow" advTm="1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0</TotalTime>
  <Words>156</Words>
  <Application>Microsoft Office PowerPoint</Application>
  <PresentationFormat>Custom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Aptos</vt:lpstr>
      <vt:lpstr>Symbol</vt:lpstr>
      <vt:lpstr>Trebuchet MS</vt:lpstr>
      <vt:lpstr>Arial</vt:lpstr>
      <vt:lpstr>Custom Design</vt:lpstr>
      <vt:lpstr>think-cell Slide</vt:lpstr>
      <vt:lpstr>Framework slide – Objectiv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49</cp:revision>
  <dcterms:created xsi:type="dcterms:W3CDTF">2006-08-16T00:00:00Z</dcterms:created>
  <dcterms:modified xsi:type="dcterms:W3CDTF">2025-10-06T09:45:12Z</dcterms:modified>
  <cp:category/>
  <dc:identifier>DAGkDf5R9EM</dc:identifier>
</cp:coreProperties>
</file>